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7" r:id="rId2"/>
    <p:sldId id="263" r:id="rId3"/>
    <p:sldId id="258" r:id="rId4"/>
    <p:sldId id="262" r:id="rId5"/>
    <p:sldId id="267" r:id="rId6"/>
    <p:sldId id="268" r:id="rId7"/>
    <p:sldId id="269" r:id="rId8"/>
    <p:sldId id="270" r:id="rId9"/>
    <p:sldId id="271" r:id="rId10"/>
    <p:sldId id="265" r:id="rId11"/>
    <p:sldId id="260" r:id="rId12"/>
    <p:sldId id="294" r:id="rId13"/>
    <p:sldId id="272" r:id="rId14"/>
    <p:sldId id="259" r:id="rId15"/>
    <p:sldId id="278" r:id="rId16"/>
    <p:sldId id="280" r:id="rId17"/>
    <p:sldId id="279" r:id="rId18"/>
    <p:sldId id="289" r:id="rId19"/>
    <p:sldId id="284" r:id="rId20"/>
    <p:sldId id="292" r:id="rId21"/>
    <p:sldId id="293" r:id="rId22"/>
    <p:sldId id="291" r:id="rId2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4" d="100"/>
          <a:sy n="114" d="100"/>
        </p:scale>
        <p:origin x="-906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37853C-1702-47E5-B067-EB9C6C469435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2F759C-EC55-41FE-99B9-68DE3AB615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10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2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1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2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3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4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5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6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7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8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9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20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3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21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22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4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C6974F-3C9C-44C7-8DD3-1BF295C9E94D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C6974F-3C9C-44C7-8DD3-1BF295C9E94D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C6974F-3C9C-44C7-8DD3-1BF295C9E94D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C6974F-3C9C-44C7-8DD3-1BF295C9E94D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C6974F-3C9C-44C7-8DD3-1BF295C9E94D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7705" indent="-28757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50315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10441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70567" indent="-2300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30693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90820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50946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911072" indent="-2300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1B8C61F-90BF-40AA-83D9-83CDAC181F82}" type="slidenum">
              <a:rPr lang="en-US" altLang="ru-RU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10</a:t>
            </a:fld>
            <a:endParaRPr lang="en-US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8383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394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258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80856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1888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7095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305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475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4803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0380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5576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B5F731-9B4C-42D5-9435-0472EA4866EA}" type="datetimeFigureOut">
              <a:rPr lang="ru-RU" smtClean="0"/>
              <a:t>08.08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2B49E3-300F-481C-AAAC-F65874265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245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Box 2"/>
          <p:cNvSpPr txBox="1">
            <a:spLocks noChangeArrowheads="1"/>
          </p:cNvSpPr>
          <p:nvPr/>
        </p:nvSpPr>
        <p:spPr bwMode="auto">
          <a:xfrm>
            <a:off x="762000" y="873125"/>
            <a:ext cx="7848600" cy="2277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endParaRPr lang="en-US" altLang="ru-RU" sz="4400" b="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anose="020B0604020202020204" pitchFamily="34" charset="0"/>
            </a:endParaRPr>
          </a:p>
          <a:p>
            <a:pPr algn="ctr"/>
            <a:r>
              <a:rPr lang="ru-RU" altLang="ru-RU" sz="5400" b="0" dirty="0" smtClean="0">
                <a:solidFill>
                  <a:srgbClr val="FF0000"/>
                </a:solidFill>
                <a:cs typeface="Arial" panose="020B0604020202020204" pitchFamily="34" charset="0"/>
              </a:rPr>
              <a:t>Энергия Успеха!</a:t>
            </a:r>
            <a:endParaRPr lang="en-US" altLang="ru-RU" sz="5400" b="0" dirty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algn="ctr"/>
            <a:r>
              <a:rPr lang="ru-RU" altLang="ru-RU" sz="4000" b="0" dirty="0" smtClean="0">
                <a:solidFill>
                  <a:srgbClr val="FF0000"/>
                </a:solidFill>
                <a:cs typeface="Arial" panose="020B0604020202020204" pitchFamily="34" charset="0"/>
              </a:rPr>
              <a:t>2014</a:t>
            </a:r>
            <a:endParaRPr lang="en-US" altLang="ru-RU" sz="4000" b="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04949" y="3429000"/>
            <a:ext cx="7848600" cy="187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endParaRPr lang="en-US" altLang="ru-RU" sz="4400" b="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anose="020B0604020202020204" pitchFamily="34" charset="0"/>
            </a:endParaRPr>
          </a:p>
          <a:p>
            <a:pPr algn="ctr"/>
            <a:r>
              <a:rPr lang="ru-RU" altLang="ru-RU" sz="3600" b="0" dirty="0" smtClean="0">
                <a:solidFill>
                  <a:srgbClr val="FF0000"/>
                </a:solidFill>
                <a:cs typeface="Arial" panose="020B0604020202020204" pitchFamily="34" charset="0"/>
              </a:rPr>
              <a:t>Конкурс</a:t>
            </a:r>
          </a:p>
          <a:p>
            <a:pPr algn="ctr"/>
            <a:r>
              <a:rPr lang="ru-RU" altLang="ru-RU" sz="3600" b="0" dirty="0" smtClean="0">
                <a:solidFill>
                  <a:srgbClr val="FF0000"/>
                </a:solidFill>
                <a:cs typeface="Arial" panose="020B0604020202020204" pitchFamily="34" charset="0"/>
              </a:rPr>
              <a:t>Э.ОН Россия</a:t>
            </a:r>
            <a:endParaRPr lang="en-US" altLang="ru-RU" sz="2400" b="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22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0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193800"/>
            <a:ext cx="8355012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24000" lvl="1" indent="0">
              <a:buClr>
                <a:schemeClr val="accent1"/>
              </a:buClr>
              <a:buSzPct val="100000"/>
            </a:pPr>
            <a:r>
              <a:rPr lang="ru-RU" altLang="ru-RU" sz="2800" b="0" dirty="0">
                <a:solidFill>
                  <a:srgbClr val="FF0000"/>
                </a:solidFill>
                <a:latin typeface="+mj-lt"/>
                <a:cs typeface="+mn-cs"/>
              </a:rPr>
              <a:t>Учитывая цели и ценности Компании, мы объявляем четыре номинации: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Улучшения и Инновации (Рационализация)</a:t>
            </a:r>
            <a:endParaRPr lang="ru-RU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Мастерство руководителя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Бизнес и экология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Мы в Обществе. Социальная ответственность.</a:t>
            </a:r>
            <a:endParaRPr lang="en-GB" altLang="ru-RU" b="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362000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1975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1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052736"/>
            <a:ext cx="8355012" cy="517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u="sng" dirty="0" smtClean="0">
                <a:solidFill>
                  <a:srgbClr val="000000"/>
                </a:solidFill>
                <a:latin typeface="Arial" pitchFamily="34" charset="0"/>
              </a:rPr>
              <a:t>Этапы </a:t>
            </a:r>
            <a:r>
              <a:rPr lang="ru-RU" altLang="ru-RU" b="0" u="sng" dirty="0">
                <a:solidFill>
                  <a:srgbClr val="000000"/>
                </a:solidFill>
                <a:latin typeface="Arial" pitchFamily="34" charset="0"/>
              </a:rPr>
              <a:t>Программы:</a:t>
            </a:r>
            <a:endParaRPr lang="en-GB" altLang="ru-RU" b="0" u="sng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Номинация сотрудников, сбор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заявок – д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31/08/2014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en-US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олуфинал конкурса в филиалах и в ИА и награждение победителей памятными призами за 1-е, 2-е и 3-и места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–11/2014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en-US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Финал и награждение победителей в Москве – 02/2015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ru-RU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en-GB" altLang="ru-RU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2" name="Down Arrow 1"/>
          <p:cNvSpPr/>
          <p:nvPr/>
        </p:nvSpPr>
        <p:spPr>
          <a:xfrm>
            <a:off x="2294631" y="2565400"/>
            <a:ext cx="558800" cy="508000"/>
          </a:xfrm>
          <a:prstGeom prst="downArrow">
            <a:avLst/>
          </a:prstGeom>
          <a:solidFill>
            <a:srgbClr val="FF000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sp>
        <p:nvSpPr>
          <p:cNvPr id="7" name="Down Arrow 6"/>
          <p:cNvSpPr/>
          <p:nvPr/>
        </p:nvSpPr>
        <p:spPr>
          <a:xfrm>
            <a:off x="2294631" y="4149080"/>
            <a:ext cx="558800" cy="508000"/>
          </a:xfrm>
          <a:prstGeom prst="downArrow">
            <a:avLst/>
          </a:prstGeom>
          <a:solidFill>
            <a:srgbClr val="FF000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71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2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052736"/>
            <a:ext cx="8355012" cy="517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u="sng" dirty="0" smtClean="0">
                <a:solidFill>
                  <a:srgbClr val="000000"/>
                </a:solidFill>
                <a:latin typeface="Arial" pitchFamily="34" charset="0"/>
              </a:rPr>
              <a:t>ПРИЗЫ финала конкурса:</a:t>
            </a:r>
            <a:endParaRPr lang="en-GB" altLang="ru-RU" b="0" u="sng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ервый приз – Балтийская Регата </a:t>
            </a:r>
            <a:r>
              <a:rPr lang="en-GB" altLang="ru-RU" b="0" dirty="0" smtClean="0">
                <a:solidFill>
                  <a:srgbClr val="000000"/>
                </a:solidFill>
                <a:latin typeface="Arial" pitchFamily="34" charset="0"/>
              </a:rPr>
              <a:t>“</a:t>
            </a:r>
            <a:r>
              <a:rPr lang="en-GB" altLang="ru-RU" b="0" dirty="0" err="1" smtClean="0">
                <a:solidFill>
                  <a:srgbClr val="000000"/>
                </a:solidFill>
                <a:latin typeface="Arial" pitchFamily="34" charset="0"/>
              </a:rPr>
              <a:t>Ust</a:t>
            </a:r>
            <a:r>
              <a:rPr lang="en-GB" altLang="ru-RU" b="0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en-GB" altLang="ru-RU" b="0" dirty="0" err="1" smtClean="0">
                <a:solidFill>
                  <a:srgbClr val="000000"/>
                </a:solidFill>
                <a:latin typeface="Arial" pitchFamily="34" charset="0"/>
              </a:rPr>
              <a:t>Luga</a:t>
            </a:r>
            <a:r>
              <a:rPr lang="en-GB" altLang="ru-RU" b="0" dirty="0" smtClean="0">
                <a:solidFill>
                  <a:srgbClr val="000000"/>
                </a:solidFill>
                <a:latin typeface="Arial" pitchFamily="34" charset="0"/>
              </a:rPr>
              <a:t> Cup”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2015! 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en-US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Второй приз – Биатлон 2015 в Ханты-Мансийском округе!</a:t>
            </a:r>
            <a:endParaRPr lang="ru-RU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Третий приз – пригласительные на две персоны на концерт </a:t>
            </a:r>
            <a:r>
              <a:rPr lang="ru-RU" b="0" dirty="0" smtClean="0">
                <a:solidFill>
                  <a:srgbClr val="000000"/>
                </a:solidFill>
                <a:latin typeface="Arial" pitchFamily="34" charset="0"/>
              </a:rPr>
              <a:t>скрипача-виртуоза Дэвида </a:t>
            </a:r>
            <a:r>
              <a:rPr lang="ru-RU" b="0" dirty="0" err="1" smtClean="0">
                <a:solidFill>
                  <a:srgbClr val="000000"/>
                </a:solidFill>
                <a:latin typeface="Arial" pitchFamily="34" charset="0"/>
              </a:rPr>
              <a:t>Гаррета</a:t>
            </a:r>
            <a:r>
              <a:rPr lang="ru-RU" b="0" dirty="0" smtClean="0">
                <a:solidFill>
                  <a:srgbClr val="000000"/>
                </a:solidFill>
                <a:latin typeface="Arial" pitchFamily="34" charset="0"/>
              </a:rPr>
              <a:t> в марте 2015!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 </a:t>
            </a: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ru-RU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en-GB" altLang="ru-RU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2" name="Down Arrow 1"/>
          <p:cNvSpPr/>
          <p:nvPr/>
        </p:nvSpPr>
        <p:spPr>
          <a:xfrm>
            <a:off x="2294631" y="2565400"/>
            <a:ext cx="558800" cy="508000"/>
          </a:xfrm>
          <a:prstGeom prst="downArrow">
            <a:avLst/>
          </a:prstGeom>
          <a:solidFill>
            <a:srgbClr val="FF000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sp>
        <p:nvSpPr>
          <p:cNvPr id="7" name="Down Arrow 6"/>
          <p:cNvSpPr/>
          <p:nvPr/>
        </p:nvSpPr>
        <p:spPr>
          <a:xfrm>
            <a:off x="2285753" y="3886200"/>
            <a:ext cx="558800" cy="508000"/>
          </a:xfrm>
          <a:prstGeom prst="downArrow">
            <a:avLst/>
          </a:prstGeom>
          <a:solidFill>
            <a:srgbClr val="FF000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917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3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193800"/>
            <a:ext cx="8713092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 algn="ctr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sz="3500" b="0" dirty="0">
                <a:solidFill>
                  <a:srgbClr val="FF0000"/>
                </a:solidFill>
                <a:latin typeface="+mj-lt"/>
                <a:cs typeface="+mn-cs"/>
              </a:rPr>
              <a:t>ВАЖНО</a:t>
            </a:r>
            <a:r>
              <a:rPr lang="ru-RU" altLang="ru-RU" sz="3500" b="0" dirty="0" smtClean="0">
                <a:solidFill>
                  <a:srgbClr val="FF0000"/>
                </a:solidFill>
                <a:latin typeface="+mj-lt"/>
                <a:cs typeface="+mn-cs"/>
              </a:rPr>
              <a:t>!</a:t>
            </a:r>
          </a:p>
          <a:p>
            <a:pPr marL="690563" lvl="1" indent="-342900">
              <a:spcBef>
                <a:spcPts val="2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Победителем в номинации могут быть проекты любого масштаба и бюджета, реализованные в любом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одразделении компании. </a:t>
            </a: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Ключевым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является то, насколько сотрудник или команда вышли за рамки своей обычной работы</a:t>
            </a:r>
          </a:p>
          <a:p>
            <a:pPr marL="690563" lvl="1" indent="-342900">
              <a:spcBef>
                <a:spcPts val="2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В каждом проекте должна быть указана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ценность/ценности, которым он соответствует</a:t>
            </a:r>
            <a:endParaRPr lang="en-GB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marL="690563" lvl="1" indent="-342900">
              <a:spcBef>
                <a:spcPts val="2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Проекты будут оцениваться п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содержанию и соответствию критериям 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к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номинации, 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а не по формату презентации</a:t>
            </a:r>
          </a:p>
          <a:p>
            <a:pPr marL="690563" lvl="1" indent="-342900">
              <a:spcBef>
                <a:spcPts val="2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Каждый сотрудник, заполнив заявку, может номинировать проект, выполненный самостоятельно или другим сотрудником/командой </a:t>
            </a:r>
            <a:r>
              <a:rPr lang="ru-RU" altLang="ru-RU" sz="1500" b="0" dirty="0" smtClean="0">
                <a:solidFill>
                  <a:srgbClr val="000000"/>
                </a:solidFill>
                <a:latin typeface="Arial" pitchFamily="34" charset="0"/>
              </a:rPr>
              <a:t>(*на номинацию «Мастерство руководителя» кандидатуры должны быть предложены коллегами либо подчиненными номинанта)</a:t>
            </a: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8842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4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193800"/>
            <a:ext cx="8641084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u="sng" dirty="0">
                <a:solidFill>
                  <a:srgbClr val="000000"/>
                </a:solidFill>
                <a:latin typeface="Arial" pitchFamily="34" charset="0"/>
              </a:rPr>
              <a:t>Прими участие, если ты </a:t>
            </a:r>
            <a:r>
              <a:rPr lang="ru-RU" altLang="ru-RU" b="0" u="sng" dirty="0" smtClean="0">
                <a:solidFill>
                  <a:srgbClr val="000000"/>
                </a:solidFill>
                <a:latin typeface="Arial" pitchFamily="34" charset="0"/>
              </a:rPr>
              <a:t>знаешь:</a:t>
            </a:r>
            <a:endParaRPr lang="ru-RU" altLang="ru-RU" b="0" u="sng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оекты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, реализованные в период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с января 2013 по декабрь 2013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Идеи и проекты, 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которые будут воплощены д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декабря 2014</a:t>
            </a:r>
            <a:endParaRPr lang="ru-RU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Выдающихся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руководителей</a:t>
            </a:r>
            <a:endParaRPr lang="en-US" altLang="ru-RU" b="0" dirty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Проекты, положительно повлиявшие на окружающую среду</a:t>
            </a:r>
            <a:endParaRPr lang="en-GB" altLang="ru-RU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оекты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, оказавшие позитивное воздействие на жизнь людей за пределами нашег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бизнеса</a:t>
            </a:r>
            <a:endParaRPr lang="ru-RU" altLang="ru-RU" b="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054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5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920080"/>
            <a:ext cx="8641084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Номинация «Улучшения </a:t>
            </a: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и Инновации (Рационализация</a:t>
            </a: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)»</a:t>
            </a:r>
          </a:p>
          <a:p>
            <a:pPr marL="347663" lvl="1" indent="0"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Цель</a:t>
            </a: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:</a:t>
            </a:r>
          </a:p>
          <a:p>
            <a:pPr marL="690563" lvl="1" indent="-342900">
              <a:spcBef>
                <a:spcPts val="250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latin typeface="Arial" pitchFamily="34" charset="0"/>
              </a:rPr>
              <a:t>Признание выдающихся идей, оказавших положительное воздействие на результаты работы подразделения</a:t>
            </a:r>
          </a:p>
          <a:p>
            <a:pPr marL="690563" lvl="1" indent="-342900">
              <a:spcBef>
                <a:spcPts val="250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latin typeface="Arial" pitchFamily="34" charset="0"/>
              </a:rPr>
              <a:t>Признание выдающихся проектов, положительно повлиявших на показатели работы подразделения </a:t>
            </a:r>
          </a:p>
          <a:p>
            <a:pPr marL="347663" lvl="1" indent="0"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Что </a:t>
            </a: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будет оценивать жюри: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Оригинальность, инициативность, изобретательность 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Способность, решительность и настойчивость при реализации идеи и полученный результат  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оложительное </a:t>
            </a: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воздействие на </a:t>
            </a: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, </a:t>
            </a: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улучшение работы </a:t>
            </a: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и экономических показателей подразделения</a:t>
            </a:r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r>
              <a:rPr lang="en-US" altLang="ru-RU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оздание</a:t>
            </a:r>
            <a:r>
              <a:rPr lang="en-US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конкурентного</a:t>
            </a:r>
            <a:r>
              <a:rPr lang="en-US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  <a:r>
              <a:rPr lang="en-US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alt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выгод</a:t>
            </a:r>
            <a:r>
              <a:rPr lang="en-US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lang="en-US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изнеса</a:t>
            </a:r>
            <a:r>
              <a:rPr lang="en-US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alt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целом</a:t>
            </a:r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90563" lvl="1" indent="-342900">
              <a:spcBef>
                <a:spcPts val="250"/>
              </a:spcBef>
              <a:buSzPct val="100000"/>
              <a:buFont typeface="Arial" panose="020B0604020202020204" pitchFamily="34" charset="0"/>
              <a:buChar char="•"/>
            </a:pPr>
            <a:endParaRPr lang="ru-RU" altLang="ru-RU" b="0" dirty="0"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9278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6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980728"/>
            <a:ext cx="8641084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Номинация «Мастерство руководителя»</a:t>
            </a: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Цель:</a:t>
            </a:r>
          </a:p>
          <a:p>
            <a:pPr marL="690563" lvl="1" indent="-342900">
              <a:spcBef>
                <a:spcPts val="250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latin typeface="Arial" pitchFamily="34" charset="0"/>
              </a:rPr>
              <a:t>Признание и поощрение выдающихся руководителей, обладающих незаурядными лидерскими качествами, умеющими мотивировать и вести за собой коллектив, достигать отличных результатов в работе</a:t>
            </a: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Что будет оценивать жюри: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Выдающиеся лидерские качества в управлении командами и работе с сотрудниками</a:t>
            </a:r>
          </a:p>
          <a:p>
            <a:pPr marL="347663" lvl="1" indent="0" eaLnBrk="1" hangingPunct="1"/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Управление/лидерство</a:t>
            </a:r>
          </a:p>
          <a:p>
            <a:pPr marL="347663" lvl="1" indent="0" eaLnBrk="1" hangingPunct="1"/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Достижение командой отличных результатов в работе</a:t>
            </a:r>
            <a:endParaRPr lang="en-GB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90563" lvl="1" indent="-342900">
              <a:spcBef>
                <a:spcPts val="250"/>
              </a:spcBef>
              <a:buSzPct val="100000"/>
              <a:buFont typeface="Arial" panose="020B0604020202020204" pitchFamily="34" charset="0"/>
              <a:buChar char="•"/>
            </a:pPr>
            <a:endParaRPr lang="ru-RU" altLang="ru-RU" b="0" dirty="0"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593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7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65581" y="810422"/>
            <a:ext cx="8641084" cy="5570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Номинация «Бизнес и экология»</a:t>
            </a: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Цель: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Поощрение выдающихся идей наших сотрудников, благодаря которым удалось оказать положительное воздействие на окружающую </a:t>
            </a: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среду и экономические показатели Компании (в рамках подразделения, филиала)</a:t>
            </a:r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Что будет оценивать жюри: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Инициативность, оригинальность, изобретательность</a:t>
            </a:r>
          </a:p>
          <a:p>
            <a:pPr marL="347663" lvl="1" indent="0" eaLnBrk="1" hangingPunct="1"/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Способность, решительность и настойчивость в реализации идеи и полученный результат</a:t>
            </a:r>
          </a:p>
          <a:p>
            <a:pPr marL="347663" lvl="1" indent="0" eaLnBrk="1" hangingPunct="1"/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Влияние на эффективность и </a:t>
            </a: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ово-экономические </a:t>
            </a: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показатели бизнеса</a:t>
            </a:r>
            <a:endParaRPr lang="en-GB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endParaRPr lang="ru-RU" altLang="ru-RU" b="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59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8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908720"/>
            <a:ext cx="8641084" cy="54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15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Номинация «Социальная ответственность»</a:t>
            </a:r>
          </a:p>
          <a:p>
            <a:pPr marL="347663" lvl="1" indent="0">
              <a:lnSpc>
                <a:spcPct val="150000"/>
              </a:lnSpc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Цель: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Признание выдающихся идей, оказывающих положительное воздействие на жизнь людей за пределами </a:t>
            </a: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а (за рамками проектов по благотворительности компании)</a:t>
            </a:r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endParaRPr lang="ru-RU" alt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Признание выдающихся проектов, положительно влияющих на жизнь общества </a:t>
            </a:r>
            <a:endParaRPr lang="ru-RU" altLang="ru-RU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spcAft>
                <a:spcPts val="1200"/>
              </a:spcAft>
              <a:buClr>
                <a:schemeClr val="accent1"/>
              </a:buClr>
              <a:buSzPct val="100000"/>
            </a:pPr>
            <a:r>
              <a:rPr lang="ru-RU" altLang="ru-RU" b="0" dirty="0">
                <a:solidFill>
                  <a:srgbClr val="FF0000"/>
                </a:solidFill>
                <a:latin typeface="Arial" pitchFamily="34" charset="0"/>
              </a:rPr>
              <a:t>Что будет оценивать жюри: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Инициативность, оригинальность, изобретательность.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Способность</a:t>
            </a: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, решительность и настойчивость в реализации идеи и полученный результат.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оложительное </a:t>
            </a: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влияние на жизнь людей за пределами бизнеса.</a:t>
            </a:r>
          </a:p>
          <a:p>
            <a:pPr lvl="1" eaLnBrk="1" hangingPunct="1">
              <a:buFontTx/>
              <a:buChar char="•"/>
            </a:pPr>
            <a:r>
              <a:rPr lang="ru-RU" alt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озитивное </a:t>
            </a:r>
            <a:r>
              <a:rPr lang="ru-RU" altLang="ru-RU" b="0" dirty="0">
                <a:latin typeface="Arial" panose="020B0604020202020204" pitchFamily="34" charset="0"/>
                <a:cs typeface="Arial" panose="020B0604020202020204" pitchFamily="34" charset="0"/>
              </a:rPr>
              <a:t>воздействие на общество.</a:t>
            </a: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ru-RU" altLang="ru-RU" b="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202909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72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19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124744"/>
            <a:ext cx="8641084" cy="533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 algn="ctr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sz="2800" b="0" dirty="0" smtClean="0">
                <a:solidFill>
                  <a:srgbClr val="FF0000"/>
                </a:solidFill>
                <a:latin typeface="Arial" pitchFamily="34" charset="0"/>
              </a:rPr>
              <a:t>КАК подать заявку на участие?</a:t>
            </a:r>
          </a:p>
          <a:p>
            <a:pPr marL="347663" lvl="1" indent="0" algn="ctr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ru-RU" altLang="ru-RU" sz="2800" b="0" dirty="0" smtClean="0">
              <a:solidFill>
                <a:srgbClr val="FF0000"/>
              </a:solidFill>
              <a:latin typeface="Arial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en-GB" altLang="ru-RU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ru-RU" altLang="ru-RU" b="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434008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98314" y="2060848"/>
            <a:ext cx="8003232" cy="939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 апреле электронная </a:t>
            </a:r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форма Заявки будет размещена на корпоративном портале</a:t>
            </a:r>
            <a:r>
              <a:rPr lang="en-US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осто заполни ее.</a:t>
            </a:r>
          </a:p>
          <a:p>
            <a:pPr marL="0" indent="0" eaLnBrk="1" hangingPunct="1">
              <a:buNone/>
            </a:pPr>
            <a:endParaRPr lang="en-GB" altLang="ru-RU" sz="2800" i="1" dirty="0">
              <a:latin typeface="Marsfont" pitchFamily="2" charset="0"/>
            </a:endParaRP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546224" y="3470251"/>
            <a:ext cx="8453314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defTabSz="0" eaLnBrk="1" hangingPunct="1">
              <a:buFontTx/>
              <a:buChar char="•"/>
            </a:pPr>
            <a:r>
              <a:rPr lang="ru-RU" altLang="ru-RU" sz="2800" dirty="0">
                <a:latin typeface="Marsfont" pitchFamily="2" charset="0"/>
              </a:rPr>
              <a:t>   </a:t>
            </a:r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Заполни Заявку в бумажной форме и положи ее в ящик для сбора заявок на своем филиале </a:t>
            </a:r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ли в исполнительном аппарате. </a:t>
            </a:r>
            <a:endParaRPr lang="ru-RU" alt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20000"/>
              </a:spcBef>
              <a:buFontTx/>
              <a:buChar char="•"/>
            </a:pPr>
            <a:endParaRPr lang="ru-RU" alt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4117180" y="2831131"/>
            <a:ext cx="944563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28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ИЛИ</a:t>
            </a:r>
            <a:endParaRPr lang="en-US" altLang="ru-RU" sz="280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4123100" y="4411024"/>
            <a:ext cx="944563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28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ИЛИ</a:t>
            </a:r>
            <a:endParaRPr lang="en-US" altLang="ru-RU" sz="280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638175" y="5013176"/>
            <a:ext cx="836136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ru-RU" altLang="ru-RU" sz="2800" dirty="0">
                <a:latin typeface="Marsfont" pitchFamily="2" charset="0"/>
              </a:rPr>
              <a:t>   </a:t>
            </a:r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качай </a:t>
            </a:r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форму Заявки на портале, заполни ее и </a:t>
            </a:r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аправь координаторам </a:t>
            </a:r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оекта </a:t>
            </a:r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электронной </a:t>
            </a:r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очте</a:t>
            </a:r>
            <a:r>
              <a:rPr lang="en-GB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635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2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212869" y="1193800"/>
            <a:ext cx="8355012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sz="2800" b="0" dirty="0" smtClean="0">
                <a:solidFill>
                  <a:srgbClr val="FF0000"/>
                </a:solidFill>
                <a:latin typeface="+mj-lt"/>
                <a:cs typeface="+mn-cs"/>
              </a:rPr>
              <a:t>Что такое «Энергия </a:t>
            </a:r>
            <a:r>
              <a:rPr lang="ru-RU" altLang="ru-RU" sz="2800" b="0" dirty="0">
                <a:solidFill>
                  <a:srgbClr val="FF0000"/>
                </a:solidFill>
                <a:latin typeface="+mj-lt"/>
                <a:cs typeface="+mn-cs"/>
              </a:rPr>
              <a:t>Успеха</a:t>
            </a:r>
            <a:r>
              <a:rPr lang="ru-RU" altLang="ru-RU" sz="2800" b="0" dirty="0" smtClean="0">
                <a:solidFill>
                  <a:srgbClr val="FF0000"/>
                </a:solidFill>
                <a:latin typeface="+mj-lt"/>
                <a:cs typeface="+mn-cs"/>
              </a:rPr>
              <a:t>!»?</a:t>
            </a:r>
          </a:p>
          <a:p>
            <a:pPr marL="804863" lvl="1" indent="-457200">
              <a:buClr>
                <a:srgbClr val="FF0000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sz="2800" b="0" dirty="0" smtClean="0">
                <a:solidFill>
                  <a:srgbClr val="FF0000"/>
                </a:solidFill>
                <a:latin typeface="+mj-lt"/>
                <a:cs typeface="+mn-cs"/>
              </a:rPr>
              <a:t>«Энергия Успеха!» - </a:t>
            </a:r>
            <a:r>
              <a:rPr lang="ru-RU" altLang="ru-RU" sz="2500" b="0" dirty="0" smtClean="0">
                <a:solidFill>
                  <a:srgbClr val="FF0000"/>
                </a:solidFill>
                <a:latin typeface="+mj-lt"/>
                <a:cs typeface="+mn-cs"/>
              </a:rPr>
              <a:t>конкурс, целью которого является признание, поощрение и поддержка достижений сотрудников Компании, направленных на улучшение бизнес-показателей, повышение социальной ответственности компании и улучшение окружающей среды</a:t>
            </a:r>
            <a:endParaRPr lang="ru-RU" altLang="ru-RU" sz="2500" b="0" dirty="0">
              <a:solidFill>
                <a:srgbClr val="FF0000"/>
              </a:solidFill>
              <a:latin typeface="+mj-lt"/>
              <a:cs typeface="+mn-cs"/>
            </a:endParaRPr>
          </a:p>
          <a:p>
            <a:pPr marL="804863" lvl="1" indent="-457200">
              <a:buClr>
                <a:srgbClr val="FF0000"/>
              </a:buClr>
              <a:buSzPct val="100000"/>
              <a:buFont typeface="Arial" panose="020B0604020202020204" pitchFamily="34" charset="0"/>
              <a:buChar char="•"/>
            </a:pPr>
            <a:endParaRPr lang="ru-RU" altLang="ru-RU" sz="2500" b="0" dirty="0" smtClean="0">
              <a:solidFill>
                <a:srgbClr val="FF0000"/>
              </a:solidFill>
              <a:latin typeface="+mj-lt"/>
              <a:cs typeface="+mn-cs"/>
            </a:endParaRP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457200" lvl="4" indent="0">
              <a:buClr>
                <a:schemeClr val="accent1"/>
              </a:buClr>
              <a:buSzPct val="100000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5"/>
            <a:ext cx="173038" cy="190500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269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20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193800"/>
            <a:ext cx="8355012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24000" lvl="1" indent="0" algn="ctr">
              <a:buClr>
                <a:schemeClr val="accent1"/>
              </a:buClr>
              <a:buSzPct val="100000"/>
            </a:pPr>
            <a:r>
              <a:rPr lang="ru-RU" altLang="ru-RU" sz="2800" b="0" dirty="0" smtClean="0">
                <a:solidFill>
                  <a:srgbClr val="FF0000"/>
                </a:solidFill>
                <a:latin typeface="+mj-lt"/>
                <a:cs typeface="+mn-cs"/>
              </a:rPr>
              <a:t>СОСТАВ ЖЮРИ ПОЛУФИНАЛА В ФИЛИАЛАХ:</a:t>
            </a:r>
            <a:endParaRPr lang="ru-RU" altLang="ru-RU" sz="2800" b="0" dirty="0">
              <a:solidFill>
                <a:srgbClr val="FF0000"/>
              </a:solidFill>
              <a:latin typeface="+mj-lt"/>
              <a:cs typeface="+mn-cs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Директора станций  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Главные инженеры станций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Начальники отделов по работе с персоналом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есс-секретари на филиалах</a:t>
            </a: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en-GB" altLang="ru-RU" b="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362000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988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21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193800"/>
            <a:ext cx="8355012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24000" lvl="1" indent="0" algn="ctr">
              <a:buClr>
                <a:schemeClr val="accent1"/>
              </a:buClr>
              <a:buSzPct val="100000"/>
            </a:pPr>
            <a:r>
              <a:rPr lang="ru-RU" altLang="ru-RU" sz="2800" b="0" dirty="0" smtClean="0">
                <a:solidFill>
                  <a:srgbClr val="FF0000"/>
                </a:solidFill>
                <a:latin typeface="+mj-lt"/>
                <a:cs typeface="+mn-cs"/>
              </a:rPr>
              <a:t>СОСТАВ ЖЮРИ ПОЛУФИНАЛА В ИА:</a:t>
            </a:r>
            <a:endParaRPr lang="ru-RU" altLang="ru-RU" sz="2800" b="0" dirty="0">
              <a:solidFill>
                <a:srgbClr val="FF0000"/>
              </a:solidFill>
              <a:latin typeface="+mj-lt"/>
              <a:cs typeface="+mn-cs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Директор по связям с общественностью и органами власти   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Директор п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закупкам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Директор по бизнес-процессам и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ИТ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Директор по </a:t>
            </a:r>
            <a:r>
              <a:rPr lang="ru-RU" altLang="ru-RU" b="0" dirty="0" err="1" smtClean="0">
                <a:solidFill>
                  <a:srgbClr val="000000"/>
                </a:solidFill>
                <a:latin typeface="Arial" pitchFamily="34" charset="0"/>
              </a:rPr>
              <a:t>энергорынкам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endParaRPr lang="en-GB" altLang="ru-RU" b="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362000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22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22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1193800"/>
            <a:ext cx="8355012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24000" lvl="1" indent="0" algn="ctr">
              <a:buClr>
                <a:schemeClr val="accent1"/>
              </a:buClr>
              <a:buSzPct val="100000"/>
            </a:pPr>
            <a:r>
              <a:rPr lang="ru-RU" altLang="ru-RU" sz="2800" b="0" dirty="0" smtClean="0">
                <a:solidFill>
                  <a:srgbClr val="FF0000"/>
                </a:solidFill>
                <a:latin typeface="+mj-lt"/>
                <a:cs typeface="+mn-cs"/>
              </a:rPr>
              <a:t>СОСТАВ ЖЮРИ ФИНАЛА В МОСКВЕ:</a:t>
            </a:r>
            <a:endParaRPr lang="ru-RU" altLang="ru-RU" sz="2800" b="0" dirty="0">
              <a:solidFill>
                <a:srgbClr val="FF0000"/>
              </a:solidFill>
              <a:latin typeface="+mj-lt"/>
              <a:cs typeface="+mn-cs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Генеральный директор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Компании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ЗГД п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оизводству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ЗГД по финансам и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экономике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ЗГД по коммерческим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вопросам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ЗГД по новому строительству и стратегическому развитию </a:t>
            </a:r>
          </a:p>
          <a:p>
            <a:pPr lvl="1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GB" altLang="ru-RU" b="0" dirty="0" smtClean="0">
                <a:solidFill>
                  <a:srgbClr val="000000"/>
                </a:solidFill>
                <a:latin typeface="Arial" pitchFamily="34" charset="0"/>
              </a:rPr>
              <a:t>HR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-директор</a:t>
            </a:r>
            <a:endParaRPr lang="en-GB" altLang="ru-RU" b="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4"/>
            <a:ext cx="362000" cy="193377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5245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3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179388" y="476672"/>
            <a:ext cx="8569076" cy="5904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u="sng" dirty="0" smtClean="0">
                <a:solidFill>
                  <a:srgbClr val="000000"/>
                </a:solidFill>
                <a:latin typeface="Arial" pitchFamily="34" charset="0"/>
              </a:rPr>
              <a:t>Алгоритм конкурса:</a:t>
            </a:r>
          </a:p>
          <a:p>
            <a:pPr marL="804863" lvl="1" indent="-45720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+mj-lt"/>
              <a:buAutoNum type="arabicPeriod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Объявление конкурса – 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письмо генеральног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директора с: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Целями конкурса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ограммой конкурса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Номинациями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авилами участия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Сроками подачи заявок на участие, их обработки, оценки заявок и сроков проведения полуфиналов/финала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Критериями оценки участников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Составом 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жюри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Создание информационной страницы конкурса на корпоративном портале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ием заявок, их рассмотрение, объявление предварительных результатов до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31/08/2014</a:t>
            </a: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оведение полуфиналов на станциях и в ИА в ноябре 2014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Финал в Москве – февраль 2015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Награждение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457200" lvl="4" indent="0">
              <a:buClr>
                <a:schemeClr val="accent1"/>
              </a:buClr>
              <a:buSzPct val="100000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143639"/>
            <a:ext cx="8820150" cy="523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5"/>
            <a:ext cx="173038" cy="190500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580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572000" y="6237288"/>
            <a:ext cx="457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eaLnBrk="1" hangingPunct="1"/>
            <a:fld id="{FD6FF96E-398B-414E-BE6B-8384ADFBB614}" type="slidenum">
              <a:rPr lang="en-US" altLang="ru-RU" sz="1400">
                <a:solidFill>
                  <a:srgbClr val="FFFFFF"/>
                </a:solidFill>
              </a:rPr>
              <a:pPr eaLnBrk="1" hangingPunct="1"/>
              <a:t>4</a:t>
            </a:fld>
            <a:endParaRPr lang="en-US" altLang="ru-RU" sz="1400" dirty="0">
              <a:solidFill>
                <a:srgbClr val="FFFFFF"/>
              </a:solidFill>
            </a:endParaRPr>
          </a:p>
        </p:txBody>
      </p:sp>
      <p:sp>
        <p:nvSpPr>
          <p:cNvPr id="12292" name="Content Placeholder 2"/>
          <p:cNvSpPr txBox="1">
            <a:spLocks/>
          </p:cNvSpPr>
          <p:nvPr/>
        </p:nvSpPr>
        <p:spPr bwMode="auto">
          <a:xfrm>
            <a:off x="206027" y="1193800"/>
            <a:ext cx="8355012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1pPr>
            <a:lvl2pPr marL="547688" indent="-200025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 Black" pitchFamily="34" charset="0"/>
                <a:cs typeface="Times New Roman" pitchFamily="18" charset="0"/>
              </a:defRPr>
            </a:lvl9pPr>
          </a:lstStyle>
          <a:p>
            <a:pPr marL="347663" lvl="1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FF0000"/>
                </a:solidFill>
                <a:latin typeface="Arial" pitchFamily="34" charset="0"/>
              </a:rPr>
              <a:t>Компания Э.ОН стремится улучшить:</a:t>
            </a:r>
          </a:p>
          <a:p>
            <a:pPr marL="690563" lvl="1" indent="-34290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БИЗНЕС, который мы ведем</a:t>
            </a:r>
          </a:p>
          <a:p>
            <a:pPr marL="690563" lvl="1" indent="-34290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ЖИЗНЬ </a:t>
            </a:r>
            <a:r>
              <a:rPr lang="ru-RU" altLang="ru-RU" b="0" dirty="0">
                <a:solidFill>
                  <a:srgbClr val="000000"/>
                </a:solidFill>
                <a:latin typeface="Arial" pitchFamily="34" charset="0"/>
              </a:rPr>
              <a:t>людей в нашей компании и за ее </a:t>
            </a: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пределами</a:t>
            </a:r>
          </a:p>
          <a:p>
            <a:pPr marL="690563" lvl="1" indent="-34290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НАШУ ПЛАНЕТУ, заботясь об окружающей среде</a:t>
            </a:r>
          </a:p>
          <a:p>
            <a:pPr marL="942975" lvl="2" indent="0">
              <a:lnSpc>
                <a:spcPct val="200000"/>
              </a:lnSpc>
              <a:spcBef>
                <a:spcPts val="250"/>
              </a:spcBef>
              <a:buClr>
                <a:schemeClr val="accent1"/>
              </a:buClr>
              <a:buSzPct val="100000"/>
            </a:pPr>
            <a:r>
              <a:rPr lang="ru-RU" altLang="ru-RU" b="0" dirty="0" smtClean="0">
                <a:solidFill>
                  <a:srgbClr val="000000"/>
                </a:solidFill>
                <a:latin typeface="Arial" pitchFamily="34" charset="0"/>
              </a:rPr>
              <a:t>Наши ценности позволяют нам нести лучшее в этот мир:</a:t>
            </a:r>
          </a:p>
          <a:p>
            <a:pPr marL="1296000" lvl="2" indent="-342900">
              <a:spcBef>
                <a:spcPts val="25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altLang="ru-RU" b="0" i="1" dirty="0" err="1">
                <a:solidFill>
                  <a:srgbClr val="000000"/>
                </a:solidFill>
                <a:latin typeface="Arial" pitchFamily="34" charset="0"/>
              </a:rPr>
              <a:t>Клиентоориентированность</a:t>
            </a:r>
            <a:r>
              <a:rPr lang="ru-RU" altLang="ru-RU" b="0" i="1" dirty="0">
                <a:solidFill>
                  <a:srgbClr val="000000"/>
                </a:solidFill>
                <a:latin typeface="Arial" pitchFamily="34" charset="0"/>
              </a:rPr>
              <a:t>!</a:t>
            </a:r>
          </a:p>
          <a:p>
            <a:pPr marL="1296000" lvl="2" indent="-342900">
              <a:spcBef>
                <a:spcPts val="25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altLang="ru-RU" b="0" i="1" dirty="0">
                <a:solidFill>
                  <a:srgbClr val="000000"/>
                </a:solidFill>
                <a:latin typeface="Arial" pitchFamily="34" charset="0"/>
              </a:rPr>
              <a:t>Ответственность и непредвзятость!</a:t>
            </a:r>
          </a:p>
          <a:p>
            <a:pPr marL="1296000" lvl="2" indent="-342900">
              <a:spcBef>
                <a:spcPts val="25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altLang="ru-RU" b="0" i="1" dirty="0" smtClean="0">
                <a:solidFill>
                  <a:srgbClr val="000000"/>
                </a:solidFill>
                <a:latin typeface="Arial" pitchFamily="34" charset="0"/>
              </a:rPr>
              <a:t>Улучшения и инновации!</a:t>
            </a:r>
          </a:p>
          <a:p>
            <a:pPr marL="1296000" lvl="2" indent="-342900">
              <a:spcBef>
                <a:spcPts val="25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altLang="ru-RU" b="0" i="1" dirty="0" smtClean="0">
                <a:solidFill>
                  <a:srgbClr val="000000"/>
                </a:solidFill>
                <a:latin typeface="Arial" pitchFamily="34" charset="0"/>
              </a:rPr>
              <a:t>Совместная работа! </a:t>
            </a:r>
          </a:p>
          <a:p>
            <a:pPr marL="1296000" lvl="2" indent="-342900">
              <a:spcBef>
                <a:spcPts val="25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altLang="ru-RU" b="0" i="1" dirty="0" smtClean="0">
                <a:solidFill>
                  <a:srgbClr val="000000"/>
                </a:solidFill>
                <a:latin typeface="Arial" pitchFamily="34" charset="0"/>
              </a:rPr>
              <a:t>Совместные победы!</a:t>
            </a:r>
          </a:p>
          <a:p>
            <a:pPr marL="914400" lvl="4" indent="-457200">
              <a:buClr>
                <a:schemeClr val="accent1"/>
              </a:buClr>
              <a:buSzPct val="100000"/>
              <a:buFont typeface="+mj-lt"/>
              <a:buAutoNum type="arabicPeriod" startAt="2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457200" lvl="4" indent="0">
              <a:buClr>
                <a:schemeClr val="accent1"/>
              </a:buClr>
              <a:buSzPct val="100000"/>
            </a:pPr>
            <a:endParaRPr lang="ru-RU" altLang="ru-RU" b="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Text Box 28"/>
          <p:cNvSpPr txBox="1">
            <a:spLocks noChangeArrowheads="1"/>
          </p:cNvSpPr>
          <p:nvPr/>
        </p:nvSpPr>
        <p:spPr bwMode="auto">
          <a:xfrm>
            <a:off x="179388" y="333375"/>
            <a:ext cx="8820150" cy="95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5" rIns="91428" bIns="45715">
            <a:spAutoFit/>
          </a:bodyPr>
          <a:lstStyle/>
          <a:p>
            <a:pPr marL="265113" indent="-265113" defTabSz="455613" eaLnBrk="0" hangingPunct="0">
              <a:spcBef>
                <a:spcPts val="250"/>
              </a:spcBef>
              <a:buClr>
                <a:schemeClr val="accent1"/>
              </a:buClr>
              <a:buSzPct val="80000"/>
              <a:defRPr/>
            </a:pPr>
            <a:r>
              <a:rPr lang="ru-RU" sz="2800" b="0" dirty="0" smtClean="0">
                <a:solidFill>
                  <a:srgbClr val="FF0000"/>
                </a:solidFill>
                <a:latin typeface="+mj-lt"/>
              </a:rPr>
              <a:t>Энергия успеха!												2014</a:t>
            </a:r>
            <a:endParaRPr lang="en-US" sz="2800" b="0" dirty="0">
              <a:solidFill>
                <a:srgbClr val="FF0000"/>
              </a:solidFill>
              <a:latin typeface="+mj-lt"/>
            </a:endParaRPr>
          </a:p>
          <a:p>
            <a:pPr defTabSz="455613">
              <a:defRPr/>
            </a:pPr>
            <a:endParaRPr lang="en-US" sz="2800" b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09600" y="6403975"/>
            <a:ext cx="173038" cy="190500"/>
          </a:xfrm>
        </p:spPr>
        <p:txBody>
          <a:bodyPr/>
          <a:lstStyle/>
          <a:p>
            <a:pPr>
              <a:defRPr/>
            </a:pPr>
            <a:fld id="{3BE272F1-5E4F-4745-B651-DA3C91773B90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932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Slide Number Placeholder 32"/>
          <p:cNvSpPr>
            <a:spLocks noGrp="1"/>
          </p:cNvSpPr>
          <p:nvPr>
            <p:ph type="sldNum" sz="quarter" idx="4294967295"/>
          </p:nvPr>
        </p:nvSpPr>
        <p:spPr>
          <a:xfrm>
            <a:off x="609600" y="6403340"/>
            <a:ext cx="434008" cy="194012"/>
          </a:xfrm>
          <a:prstGeom prst="rect">
            <a:avLst/>
          </a:prstGeom>
        </p:spPr>
        <p:txBody>
          <a:bodyPr/>
          <a:lstStyle/>
          <a:p>
            <a:fld id="{9B749DBC-5EFD-468C-9F9F-C80FB4A03599}" type="slidenum">
              <a:rPr lang="en-GB" sz="800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ru-RU" sz="800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609613" y="2030684"/>
            <a:ext cx="3543300" cy="1671148"/>
            <a:chOff x="609613" y="2030684"/>
            <a:chExt cx="3543300" cy="1671148"/>
          </a:xfrm>
        </p:grpSpPr>
        <p:sp>
          <p:nvSpPr>
            <p:cNvPr id="26" name="Rectangle 25"/>
            <p:cNvSpPr/>
            <p:nvPr/>
          </p:nvSpPr>
          <p:spPr>
            <a:xfrm>
              <a:off x="609613" y="3182758"/>
              <a:ext cx="3543300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endParaRPr kumimoji="1" lang="en-GB" sz="1400" b="1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2" name="Group 26"/>
            <p:cNvGrpSpPr/>
            <p:nvPr/>
          </p:nvGrpSpPr>
          <p:grpSpPr>
            <a:xfrm>
              <a:off x="609613" y="2606721"/>
              <a:ext cx="3543300" cy="519074"/>
              <a:chOff x="2601120" y="4954673"/>
              <a:chExt cx="5756167" cy="689140"/>
            </a:xfrm>
            <a:solidFill>
              <a:schemeClr val="bg1">
                <a:lumMod val="75000"/>
              </a:schemeClr>
            </a:solidFill>
          </p:grpSpPr>
          <p:sp>
            <p:nvSpPr>
              <p:cNvPr id="30" name="Rectangle 29"/>
              <p:cNvSpPr/>
              <p:nvPr/>
            </p:nvSpPr>
            <p:spPr>
              <a:xfrm>
                <a:off x="6492268" y="4954673"/>
                <a:ext cx="1865019" cy="6891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hangingPunct="0"/>
                <a:endParaRPr kumimoji="1" lang="en-GB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4546693" y="4954673"/>
                <a:ext cx="1865019" cy="6891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hangingPunct="0"/>
                <a:endParaRPr kumimoji="1" lang="en-GB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2601120" y="4954673"/>
                <a:ext cx="1865019" cy="6891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/>
              <a:lstStyle/>
              <a:p>
                <a:pPr algn="ctr" eaLnBrk="0" hangingPunct="0"/>
                <a:endParaRPr kumimoji="1" lang="en-GB" sz="1400" b="1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611560" y="2030684"/>
              <a:ext cx="3540225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7683690" y="5863097"/>
            <a:ext cx="1460310" cy="839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>
              <a:solidFill>
                <a:srgbClr val="000000"/>
              </a:solidFill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2137558" y="2850078"/>
            <a:ext cx="6396842" cy="3293547"/>
            <a:chOff x="2137558" y="2850078"/>
            <a:chExt cx="6396842" cy="3293547"/>
          </a:xfrm>
        </p:grpSpPr>
        <p:sp>
          <p:nvSpPr>
            <p:cNvPr id="42" name="Rectangle 41"/>
            <p:cNvSpPr/>
            <p:nvPr/>
          </p:nvSpPr>
          <p:spPr>
            <a:xfrm>
              <a:off x="2137558" y="2850078"/>
              <a:ext cx="6396842" cy="329354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065662" y="3043574"/>
              <a:ext cx="4540635" cy="2026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1600" b="1" dirty="0" smtClean="0">
                  <a:solidFill>
                    <a:srgbClr val="FF0000"/>
                  </a:solidFill>
                </a:rPr>
                <a:t>КЛИЕНТООРИЕНТИРОВАННОСТЬ</a:t>
              </a:r>
              <a:endParaRPr lang="en-GB" sz="1600" b="1" dirty="0" smtClean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2175572" y="3384468"/>
              <a:ext cx="6358827" cy="2554545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dirty="0" smtClean="0">
                  <a:solidFill>
                    <a:srgbClr val="000000"/>
                  </a:solidFill>
                </a:rPr>
                <a:t>Осознавать, что действия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каждого сотрудника </a:t>
              </a:r>
              <a:r>
                <a:rPr lang="ru-RU" sz="1600" dirty="0" smtClean="0">
                  <a:solidFill>
                    <a:srgbClr val="000000"/>
                  </a:solidFill>
                </a:rPr>
                <a:t>влияют на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лояльность клиента</a:t>
              </a: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dirty="0" smtClean="0">
                  <a:solidFill>
                    <a:srgbClr val="000000"/>
                  </a:solidFill>
                </a:rPr>
                <a:t>Предвосхищать ожидания клиентов, активно слушать и стремиться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понять</a:t>
              </a:r>
              <a:r>
                <a:rPr lang="ru-RU" dirty="0" smtClean="0"/>
                <a:t> </a:t>
              </a:r>
              <a:r>
                <a:rPr lang="ru-RU" sz="1600" dirty="0">
                  <a:solidFill>
                    <a:srgbClr val="000000"/>
                  </a:solidFill>
                </a:rPr>
                <a:t>их</a:t>
              </a:r>
              <a:r>
                <a:rPr lang="ru-RU" dirty="0" smtClean="0"/>
                <a:t> </a:t>
              </a:r>
              <a:r>
                <a:rPr lang="ru-RU" sz="1600" b="1" dirty="0" smtClean="0"/>
                <a:t>потребности </a:t>
              </a:r>
              <a:r>
                <a:rPr lang="ru-RU" sz="1600" dirty="0" smtClean="0">
                  <a:solidFill>
                    <a:srgbClr val="000000"/>
                  </a:solidFill>
                </a:rPr>
                <a:t>и эффективно реагировать</a:t>
              </a: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dirty="0" smtClean="0">
                  <a:solidFill>
                    <a:srgbClr val="000000"/>
                  </a:solidFill>
                </a:rPr>
                <a:t>Подходить к работе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с позиции наших клиентов</a:t>
              </a:r>
              <a:r>
                <a:rPr lang="ru-RU" sz="1600" dirty="0" smtClean="0">
                  <a:solidFill>
                    <a:srgbClr val="000000"/>
                  </a:solidFill>
                </a:rPr>
                <a:t>, предлагать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решения</a:t>
              </a:r>
              <a:r>
                <a:rPr lang="ru-RU" sz="1600" dirty="0" smtClean="0">
                  <a:solidFill>
                    <a:srgbClr val="000000"/>
                  </a:solidFill>
                </a:rPr>
                <a:t> и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уровень сервиса</a:t>
              </a:r>
              <a:r>
                <a:rPr lang="ru-RU" sz="1600" dirty="0" smtClean="0">
                  <a:solidFill>
                    <a:srgbClr val="000000"/>
                  </a:solidFill>
                </a:rPr>
                <a:t>, которые бы их удовлетворили</a:t>
              </a:r>
              <a:endParaRPr lang="ru-RU" sz="1600" b="1" dirty="0" smtClean="0">
                <a:solidFill>
                  <a:srgbClr val="000000"/>
                </a:solidFill>
              </a:endParaRP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dirty="0">
                  <a:solidFill>
                    <a:srgbClr val="000000"/>
                  </a:solidFill>
                </a:rPr>
                <a:t>Выстраивать </a:t>
              </a:r>
              <a:r>
                <a:rPr lang="ru-RU" sz="1600" dirty="0" smtClean="0">
                  <a:solidFill>
                    <a:srgbClr val="000000"/>
                  </a:solidFill>
                </a:rPr>
                <a:t>доверительные и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долгосрочные отношения</a:t>
              </a:r>
              <a:r>
                <a:rPr lang="ru-RU" sz="1600" b="0" dirty="0" smtClean="0">
                  <a:solidFill>
                    <a:srgbClr val="000000"/>
                  </a:solidFill>
                </a:rPr>
                <a:t> с клиентами</a:t>
              </a:r>
            </a:p>
          </p:txBody>
        </p:sp>
      </p:grpSp>
      <p:sp>
        <p:nvSpPr>
          <p:cNvPr id="29" name="Rectangle 28"/>
          <p:cNvSpPr/>
          <p:nvPr/>
        </p:nvSpPr>
        <p:spPr>
          <a:xfrm>
            <a:off x="611560" y="2030684"/>
            <a:ext cx="3540225" cy="51907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 eaLnBrk="0" hangingPunct="0"/>
            <a:r>
              <a:rPr kumimoji="1" lang="ru-RU" sz="1400" b="1" dirty="0" err="1" smtClean="0">
                <a:solidFill>
                  <a:srgbClr val="FFFFFF"/>
                </a:solidFill>
              </a:rPr>
              <a:t>Клиентоориентированность</a:t>
            </a:r>
            <a:endParaRPr kumimoji="1" lang="ru-RU" sz="1400" b="1" dirty="0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7544" y="620688"/>
            <a:ext cx="780470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бы мы ни делали, мы всегда руководствуемся </a:t>
            </a:r>
            <a:endParaRPr lang="ru-RU" sz="25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5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есами </a:t>
            </a:r>
            <a:r>
              <a:rPr lang="ru-R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ов</a:t>
            </a:r>
          </a:p>
        </p:txBody>
      </p:sp>
    </p:spTree>
    <p:extLst>
      <p:ext uri="{BB962C8B-B14F-4D97-AF65-F5344CB8AC3E}">
        <p14:creationId xmlns:p14="http://schemas.microsoft.com/office/powerpoint/2010/main" val="36398841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55" name="Rectangle 23"/>
          <p:cNvSpPr>
            <a:spLocks noGrp="1" noChangeArrowheads="1"/>
          </p:cNvSpPr>
          <p:nvPr>
            <p:ph type="title"/>
          </p:nvPr>
        </p:nvSpPr>
        <p:spPr>
          <a:xfrm>
            <a:off x="626559" y="666750"/>
            <a:ext cx="7787286" cy="818034"/>
          </a:xfrm>
        </p:spPr>
        <p:txBody>
          <a:bodyPr>
            <a:noAutofit/>
          </a:bodyPr>
          <a:lstStyle/>
          <a:p>
            <a:pPr algn="l"/>
            <a:r>
              <a:rPr lang="ru-RU" altLang="de-DE" sz="25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ветственное поведение и непредвзятость — основные принципы работы E.O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683690" y="5877272"/>
            <a:ext cx="1460310" cy="839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15" name="Slide Number Placeholder 32"/>
          <p:cNvSpPr>
            <a:spLocks noGrp="1"/>
          </p:cNvSpPr>
          <p:nvPr>
            <p:ph type="sldNum" sz="quarter" idx="4294967295"/>
          </p:nvPr>
        </p:nvSpPr>
        <p:spPr>
          <a:xfrm>
            <a:off x="609600" y="6403340"/>
            <a:ext cx="434008" cy="194012"/>
          </a:xfrm>
          <a:prstGeom prst="rect">
            <a:avLst/>
          </a:prstGeom>
        </p:spPr>
        <p:txBody>
          <a:bodyPr/>
          <a:lstStyle/>
          <a:p>
            <a:fld id="{9B749DBC-5EFD-468C-9F9F-C80FB4A03599}" type="slidenum">
              <a:rPr lang="en-GB" sz="800" smtClean="0">
                <a:solidFill>
                  <a:srgbClr val="000000">
                    <a:tint val="75000"/>
                  </a:srgbClr>
                </a:solidFill>
              </a:rPr>
              <a:pPr/>
              <a:t>6</a:t>
            </a:fld>
            <a:endParaRPr lang="ru-RU" sz="800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5234792" y="4981492"/>
            <a:ext cx="3543300" cy="1671148"/>
            <a:chOff x="4994318" y="4464647"/>
            <a:chExt cx="3543300" cy="1671148"/>
          </a:xfrm>
        </p:grpSpPr>
        <p:sp>
          <p:nvSpPr>
            <p:cNvPr id="21" name="Rectangle 20"/>
            <p:cNvSpPr/>
            <p:nvPr/>
          </p:nvSpPr>
          <p:spPr>
            <a:xfrm>
              <a:off x="4994318" y="5616721"/>
              <a:ext cx="3543300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endParaRPr kumimoji="1" lang="en-GB" sz="14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7389576" y="5040684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191946" y="5040684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994318" y="5040684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994318" y="4464647"/>
              <a:ext cx="3540225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ru-RU" sz="1400" b="1" dirty="0" err="1" smtClean="0">
                  <a:solidFill>
                    <a:srgbClr val="FFFFFF"/>
                  </a:solidFill>
                </a:rPr>
                <a:t>Клиентоориентированность</a:t>
              </a:r>
              <a:endParaRPr kumimoji="1" lang="ru-RU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5234791" y="6150286"/>
            <a:ext cx="3543300" cy="51907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 eaLnBrk="0" hangingPunct="0"/>
            <a:r>
              <a:rPr kumimoji="1" lang="en-GB" sz="1400" b="1" dirty="0" err="1" smtClean="0">
                <a:solidFill>
                  <a:srgbClr val="FFFFFF"/>
                </a:solidFill>
              </a:rPr>
              <a:t>Ответственность</a:t>
            </a:r>
            <a:r>
              <a:rPr kumimoji="1" lang="en-GB" sz="1400" b="1" dirty="0" smtClean="0">
                <a:solidFill>
                  <a:srgbClr val="FFFFFF"/>
                </a:solidFill>
              </a:rPr>
              <a:t> </a:t>
            </a:r>
            <a:r>
              <a:rPr kumimoji="1" lang="ru-RU" sz="1400" b="1" dirty="0" smtClean="0">
                <a:solidFill>
                  <a:srgbClr val="FFFFFF"/>
                </a:solidFill>
              </a:rPr>
              <a:t>и непредвзятость</a:t>
            </a:r>
            <a:endParaRPr kumimoji="1" lang="en-GB" sz="1400" b="1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13"/>
          <p:cNvGrpSpPr/>
          <p:nvPr/>
        </p:nvGrpSpPr>
        <p:grpSpPr>
          <a:xfrm>
            <a:off x="609600" y="2042578"/>
            <a:ext cx="6396842" cy="3336344"/>
            <a:chOff x="609600" y="2042578"/>
            <a:chExt cx="6396842" cy="3336344"/>
          </a:xfrm>
        </p:grpSpPr>
        <p:sp>
          <p:nvSpPr>
            <p:cNvPr id="18" name="Rectangle 17"/>
            <p:cNvSpPr/>
            <p:nvPr/>
          </p:nvSpPr>
          <p:spPr>
            <a:xfrm>
              <a:off x="609600" y="2042578"/>
              <a:ext cx="6396842" cy="329354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79491" y="2230201"/>
              <a:ext cx="5057061" cy="2089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b="1" dirty="0" smtClean="0">
                  <a:solidFill>
                    <a:srgbClr val="FF0000"/>
                  </a:solidFill>
                </a:rPr>
                <a:t>ОТВЕТСТВЕННОСТЬ </a:t>
              </a:r>
              <a:r>
                <a:rPr lang="ru-RU" sz="1600" b="1" dirty="0" smtClean="0">
                  <a:solidFill>
                    <a:srgbClr val="FF0000"/>
                  </a:solidFill>
                </a:rPr>
                <a:t>И НЕПРЕДВЗЯТОСТЬ</a:t>
              </a:r>
              <a:endParaRPr lang="en-GB" sz="1600" b="1" dirty="0" smtClean="0">
                <a:solidFill>
                  <a:srgbClr val="FF0000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47615" y="2593544"/>
              <a:ext cx="6275702" cy="2785378"/>
            </a:xfrm>
            <a:prstGeom prst="rect">
              <a:avLst/>
            </a:prstGeom>
            <a:noFill/>
          </p:spPr>
          <p:txBody>
            <a:bodyPr wrap="square" lIns="36000" rIns="0">
              <a:spAutoFit/>
            </a:bodyPr>
            <a:lstStyle/>
            <a:p>
              <a:pPr marL="176213" indent="-176213" fontAlgn="t">
                <a:spcBef>
                  <a:spcPts val="18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Никогда не подвергать риску </a:t>
              </a:r>
              <a:r>
                <a:rPr lang="ru-RU" sz="1600" b="1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здоровье </a:t>
              </a:r>
              <a:r>
                <a:rPr lang="ru-RU" sz="1600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и</a:t>
              </a:r>
              <a:r>
                <a:rPr lang="ru-RU" sz="1600" b="1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 безопасность</a:t>
              </a:r>
            </a:p>
            <a:p>
              <a:pPr marL="176213" indent="-176213" fontAlgn="t">
                <a:spcBef>
                  <a:spcPts val="18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dirty="0" smtClean="0">
                  <a:solidFill>
                    <a:srgbClr val="000000"/>
                  </a:solidFill>
                </a:rPr>
                <a:t>Действовать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рационально и с учетом будущих потребностей; </a:t>
              </a:r>
              <a:r>
                <a:rPr lang="ru-RU" sz="1600" dirty="0" smtClean="0">
                  <a:solidFill>
                    <a:srgbClr val="000000"/>
                  </a:solidFill>
                </a:rPr>
                <a:t>стремиться к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долговременному успеху</a:t>
              </a:r>
              <a:r>
                <a:rPr lang="ru-RU" dirty="0" smtClean="0"/>
                <a:t> </a:t>
              </a:r>
              <a:endParaRPr lang="ru-RU" sz="1600" dirty="0" smtClean="0">
                <a:solidFill>
                  <a:srgbClr val="000000"/>
                </a:solidFill>
                <a:uFill>
                  <a:solidFill>
                    <a:srgbClr val="F21C0A"/>
                  </a:solidFill>
                </a:uFill>
                <a:ea typeface="Calibri"/>
                <a:cs typeface="Times New Roman"/>
              </a:endParaRPr>
            </a:p>
            <a:p>
              <a:pPr marL="176213" indent="-176213" fontAlgn="t">
                <a:spcBef>
                  <a:spcPts val="18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Проявлять заботу друг о друге </a:t>
              </a:r>
              <a:r>
                <a:rPr lang="ru-RU" sz="1600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и ценить </a:t>
              </a:r>
              <a:r>
                <a:rPr lang="ru-RU" sz="1600" b="1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многообразие —</a:t>
              </a:r>
              <a:r>
                <a:rPr lang="ru-RU" sz="1600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 в этом наша сила</a:t>
              </a:r>
            </a:p>
            <a:p>
              <a:pPr marL="176213" indent="-176213" fontAlgn="t">
                <a:spcBef>
                  <a:spcPts val="18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600" dirty="0" smtClean="0">
                  <a:solidFill>
                    <a:srgbClr val="000000"/>
                  </a:solidFill>
                </a:rPr>
                <a:t>Извлекать пользу из расширяющейся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глобальной сети взаимодействия: использовать </a:t>
              </a:r>
              <a:r>
                <a:rPr lang="ru-RU" sz="1600" dirty="0" smtClean="0">
                  <a:solidFill>
                    <a:srgbClr val="000000"/>
                  </a:solidFill>
                </a:rPr>
                <a:t>ноу-хау, кадровые резервы и каналы поставок</a:t>
              </a:r>
              <a:endParaRPr lang="ru-RU" sz="1600" b="1" dirty="0" smtClean="0">
                <a:solidFill>
                  <a:srgbClr val="000000"/>
                </a:solidFill>
                <a:uFill>
                  <a:solidFill>
                    <a:srgbClr val="F21C0A"/>
                  </a:solidFill>
                </a:uFill>
                <a:ea typeface="Calibri"/>
                <a:cs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76988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/>
          <p:cNvGrpSpPr/>
          <p:nvPr/>
        </p:nvGrpSpPr>
        <p:grpSpPr>
          <a:xfrm>
            <a:off x="609613" y="2030684"/>
            <a:ext cx="3543300" cy="1671148"/>
            <a:chOff x="609613" y="2030684"/>
            <a:chExt cx="3543300" cy="1671148"/>
          </a:xfrm>
        </p:grpSpPr>
        <p:sp>
          <p:nvSpPr>
            <p:cNvPr id="17" name="Rectangle 16"/>
            <p:cNvSpPr/>
            <p:nvPr/>
          </p:nvSpPr>
          <p:spPr>
            <a:xfrm>
              <a:off x="609613" y="3182758"/>
              <a:ext cx="3543300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ru-RU" sz="1400" b="1" dirty="0" err="1" smtClean="0">
                  <a:solidFill>
                    <a:srgbClr val="FFFFFF"/>
                  </a:solidFill>
                </a:rPr>
                <a:t>Оответственность</a:t>
              </a:r>
              <a:r>
                <a:rPr kumimoji="1" lang="ru-RU" sz="1400" b="1" dirty="0" smtClean="0">
                  <a:solidFill>
                    <a:srgbClr val="FFFFFF"/>
                  </a:solidFill>
                </a:rPr>
                <a:t> и непредвзятость</a:t>
              </a:r>
              <a:endParaRPr kumimoji="1" lang="en-GB" sz="14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004871" y="2606721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807241" y="2606721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09613" y="2606721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12688" y="2030684"/>
              <a:ext cx="3540225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ru-RU" sz="1400" b="1" dirty="0" smtClean="0">
                  <a:solidFill>
                    <a:srgbClr val="FFFFFF"/>
                  </a:solidFill>
                </a:rPr>
                <a:t>Наш приоритет- наши клиенты</a:t>
              </a:r>
              <a:endParaRPr kumimoji="1" lang="ru-RU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20855" name="Rectangle 23"/>
          <p:cNvSpPr>
            <a:spLocks noGrp="1" noChangeArrowheads="1"/>
          </p:cNvSpPr>
          <p:nvPr>
            <p:ph type="title"/>
          </p:nvPr>
        </p:nvSpPr>
        <p:spPr>
          <a:xfrm>
            <a:off x="609600" y="666750"/>
            <a:ext cx="7706816" cy="1034058"/>
          </a:xfrm>
        </p:spPr>
        <p:txBody>
          <a:bodyPr>
            <a:normAutofit fontScale="90000"/>
          </a:bodyPr>
          <a:lstStyle/>
          <a:p>
            <a:r>
              <a:rPr lang="ru-RU" altLang="de-DE" sz="2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</a:t>
            </a:r>
            <a:r>
              <a:rPr lang="ru-RU" sz="2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ы дорожим прочными отношениями  </a:t>
            </a:r>
            <a:br>
              <a:rPr lang="ru-RU" sz="2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клиентами, коллегами и обществом </a:t>
            </a:r>
            <a:r>
              <a:rPr sz="2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sz="2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dirty="0" smtClean="0"/>
              <a:t> </a:t>
            </a:r>
            <a:endParaRPr lang="ru-RU" dirty="0"/>
          </a:p>
        </p:txBody>
      </p:sp>
      <p:sp>
        <p:nvSpPr>
          <p:cNvPr id="21" name="Rectangle 20"/>
          <p:cNvSpPr/>
          <p:nvPr/>
        </p:nvSpPr>
        <p:spPr>
          <a:xfrm>
            <a:off x="7683690" y="5863097"/>
            <a:ext cx="1460310" cy="839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15" name="Slide Number Placeholder 32"/>
          <p:cNvSpPr>
            <a:spLocks noGrp="1"/>
          </p:cNvSpPr>
          <p:nvPr>
            <p:ph type="sldNum" sz="quarter" idx="4294967295"/>
          </p:nvPr>
        </p:nvSpPr>
        <p:spPr>
          <a:xfrm>
            <a:off x="609600" y="6403340"/>
            <a:ext cx="434008" cy="194012"/>
          </a:xfrm>
          <a:prstGeom prst="rect">
            <a:avLst/>
          </a:prstGeom>
        </p:spPr>
        <p:txBody>
          <a:bodyPr/>
          <a:lstStyle/>
          <a:p>
            <a:fld id="{9B749DBC-5EFD-468C-9F9F-C80FB4A03599}" type="slidenum">
              <a:rPr lang="en-GB" sz="800" smtClean="0">
                <a:solidFill>
                  <a:srgbClr val="000000">
                    <a:tint val="75000"/>
                  </a:srgbClr>
                </a:solidFill>
              </a:rPr>
              <a:pPr/>
              <a:t>7</a:t>
            </a:fld>
            <a:endParaRPr lang="ru-RU" sz="800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1560" y="2608263"/>
            <a:ext cx="1148042" cy="51907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 eaLnBrk="0" hangingPunct="0"/>
            <a:r>
              <a:rPr kumimoji="1" lang="en-GB" sz="1200" b="1" dirty="0" smtClean="0">
                <a:solidFill>
                  <a:srgbClr val="FFFFFF"/>
                </a:solidFill>
              </a:rPr>
              <a:t>Совместная</a:t>
            </a:r>
          </a:p>
          <a:p>
            <a:pPr algn="ctr" eaLnBrk="0" hangingPunct="0"/>
            <a:r>
              <a:rPr kumimoji="1" lang="en-GB" sz="1200" b="1" dirty="0" smtClean="0">
                <a:solidFill>
                  <a:srgbClr val="FFFFFF"/>
                </a:solidFill>
              </a:rPr>
              <a:t>работа</a:t>
            </a:r>
            <a:endParaRPr kumimoji="1" lang="ru-RU" sz="1200" b="1" dirty="0">
              <a:solidFill>
                <a:srgbClr val="FFFFFF"/>
              </a:solidFill>
            </a:endParaRPr>
          </a:p>
        </p:txBody>
      </p:sp>
      <p:grpSp>
        <p:nvGrpSpPr>
          <p:cNvPr id="31" name="Group 14"/>
          <p:cNvGrpSpPr/>
          <p:nvPr/>
        </p:nvGrpSpPr>
        <p:grpSpPr>
          <a:xfrm>
            <a:off x="2137558" y="2850078"/>
            <a:ext cx="6396842" cy="3293547"/>
            <a:chOff x="2137558" y="2850078"/>
            <a:chExt cx="6396842" cy="3293547"/>
          </a:xfrm>
        </p:grpSpPr>
        <p:sp>
          <p:nvSpPr>
            <p:cNvPr id="32" name="Rectangle 31"/>
            <p:cNvSpPr/>
            <p:nvPr/>
          </p:nvSpPr>
          <p:spPr>
            <a:xfrm>
              <a:off x="2137558" y="2850078"/>
              <a:ext cx="6396842" cy="329354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065662" y="3043574"/>
              <a:ext cx="4540635" cy="2026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b="1" dirty="0" smtClean="0">
                  <a:solidFill>
                    <a:srgbClr val="FF0000"/>
                  </a:solidFill>
                </a:rPr>
                <a:t>СОВМЕСТНАЯ РАБОТА</a:t>
              </a:r>
              <a:endParaRPr lang="ru-RU" sz="1600" b="1" dirty="0">
                <a:solidFill>
                  <a:srgbClr val="FF0000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175572" y="3384468"/>
              <a:ext cx="6358827" cy="2708434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Заслужить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доверие</a:t>
              </a:r>
              <a:r>
                <a:rPr lang="ru-RU" sz="1400" dirty="0" smtClean="0">
                  <a:solidFill>
                    <a:srgbClr val="000000"/>
                  </a:solidFill>
                </a:rPr>
                <a:t> и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уважение</a:t>
              </a:r>
              <a:r>
                <a:rPr lang="ru-RU" sz="1400" dirty="0" smtClean="0">
                  <a:solidFill>
                    <a:srgbClr val="000000"/>
                  </a:solidFill>
                </a:rPr>
                <a:t>, действуя в духе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информационной открытости </a:t>
              </a:r>
              <a:r>
                <a:rPr lang="ru-RU" sz="1400" dirty="0" smtClean="0">
                  <a:solidFill>
                    <a:srgbClr val="000000"/>
                  </a:solidFill>
                </a:rPr>
                <a:t> через свободный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диалог </a:t>
              </a:r>
              <a:r>
                <a:rPr lang="ru-RU" sz="1400" dirty="0" smtClean="0">
                  <a:solidFill>
                    <a:srgbClr val="000000"/>
                  </a:solidFill>
                </a:rPr>
                <a:t>с клиентами и коллегами</a:t>
              </a: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Научиться делать друг другу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конструктивные замечания и комментарии, </a:t>
              </a:r>
              <a:r>
                <a:rPr lang="ru-RU" sz="1400" dirty="0" smtClean="0"/>
                <a:t>помогать коллегам </a:t>
              </a:r>
              <a:r>
                <a:rPr lang="ru-RU" sz="1400" b="1" dirty="0" smtClean="0"/>
                <a:t>развиваться </a:t>
              </a:r>
              <a:r>
                <a:rPr lang="ru-RU" sz="1400" dirty="0" smtClean="0">
                  <a:uFill>
                    <a:solidFill>
                      <a:srgbClr val="F21C0A"/>
                    </a:solidFill>
                  </a:uFill>
                </a:rPr>
                <a:t>в личностном и профессиональном плане, не унижая их достоинства</a:t>
              </a: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b="1" dirty="0" smtClean="0"/>
                <a:t>Наделять </a:t>
              </a:r>
              <a:r>
                <a:rPr lang="ru-RU" sz="1400" dirty="0" smtClean="0"/>
                <a:t>сотрудников </a:t>
              </a:r>
              <a:r>
                <a:rPr lang="ru-RU" sz="1400" b="1" dirty="0" smtClean="0"/>
                <a:t>полномочиями</a:t>
              </a:r>
              <a:r>
                <a:rPr lang="ru-RU" sz="1400" dirty="0" smtClean="0"/>
                <a:t> и </a:t>
              </a:r>
              <a:r>
                <a:rPr lang="ru-RU" sz="1400" b="1" dirty="0" smtClean="0"/>
                <a:t>доверять им важные поручения в четких рамках их компетенций  </a:t>
              </a:r>
              <a:endParaRPr lang="ru-RU" sz="1400" dirty="0" smtClean="0"/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Пользоваться преимуществами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командного взаимодействия</a:t>
              </a:r>
              <a:r>
                <a:rPr lang="ru-RU" sz="1400" dirty="0" smtClean="0">
                  <a:solidFill>
                    <a:srgbClr val="000000"/>
                  </a:solidFill>
                </a:rPr>
                <a:t> между подразделениями, совместного поиска идей и лучших решений и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реализовывать найденные решения</a:t>
              </a:r>
              <a:endParaRPr lang="ru-RU" sz="1400" b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06668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/>
          <p:cNvGrpSpPr/>
          <p:nvPr/>
        </p:nvGrpSpPr>
        <p:grpSpPr>
          <a:xfrm>
            <a:off x="2806488" y="2030684"/>
            <a:ext cx="3543300" cy="1671148"/>
            <a:chOff x="2806488" y="2030684"/>
            <a:chExt cx="3543300" cy="1671148"/>
          </a:xfrm>
        </p:grpSpPr>
        <p:sp>
          <p:nvSpPr>
            <p:cNvPr id="18" name="Rectangle 17"/>
            <p:cNvSpPr/>
            <p:nvPr/>
          </p:nvSpPr>
          <p:spPr>
            <a:xfrm>
              <a:off x="2806488" y="3182758"/>
              <a:ext cx="3543300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en-GB" sz="1400" b="1" dirty="0" smtClean="0">
                  <a:solidFill>
                    <a:srgbClr val="FFFFFF"/>
                  </a:solidFill>
                </a:rPr>
                <a:t>Ответственность за свои</a:t>
              </a:r>
              <a:r>
                <a:t/>
              </a:r>
              <a:br/>
              <a:r>
                <a:rPr kumimoji="1" lang="en-GB" sz="1400" b="1" dirty="0" smtClean="0">
                  <a:solidFill>
                    <a:srgbClr val="FFFFFF"/>
                  </a:solidFill>
                </a:rPr>
                <a:t>действия и открытость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201746" y="2606721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004116" y="2606721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endParaRPr kumimoji="1"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06488" y="2606721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en-GB" sz="1200" b="1" dirty="0" smtClean="0">
                  <a:solidFill>
                    <a:srgbClr val="FFFFFF"/>
                  </a:solidFill>
                </a:rPr>
                <a:t>Совместная</a:t>
              </a:r>
            </a:p>
            <a:p>
              <a:pPr algn="ctr" eaLnBrk="0" hangingPunct="0"/>
              <a:r>
                <a:rPr kumimoji="1" lang="en-GB" sz="1200" b="1" dirty="0" smtClean="0">
                  <a:solidFill>
                    <a:srgbClr val="FFFFFF"/>
                  </a:solidFill>
                </a:rPr>
                <a:t>работа</a:t>
              </a:r>
              <a:endParaRPr kumimoji="1" lang="ru-RU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06488" y="2030684"/>
              <a:ext cx="3540225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ru-RU" sz="1400" b="1" dirty="0" smtClean="0">
                  <a:solidFill>
                    <a:srgbClr val="FFFFFF"/>
                  </a:solidFill>
                </a:rPr>
                <a:t>Наш приоритет- наши клиенты </a:t>
              </a:r>
              <a:endParaRPr kumimoji="1" lang="ru-RU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20855" name="Rectangle 23"/>
          <p:cNvSpPr>
            <a:spLocks noGrp="1" noChangeArrowheads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>
            <a:noAutofit/>
          </a:bodyPr>
          <a:lstStyle/>
          <a:p>
            <a:r>
              <a:rPr sz="25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ы постоянно стремимся сделать наше предложение более интересным и выгодным для клиентов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683690" y="5863097"/>
            <a:ext cx="1460310" cy="839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15" name="Slide Number Placeholder 32"/>
          <p:cNvSpPr>
            <a:spLocks noGrp="1"/>
          </p:cNvSpPr>
          <p:nvPr>
            <p:ph type="sldNum" sz="quarter" idx="4294967295"/>
          </p:nvPr>
        </p:nvSpPr>
        <p:spPr>
          <a:xfrm>
            <a:off x="609600" y="6403340"/>
            <a:ext cx="434008" cy="194012"/>
          </a:xfrm>
          <a:prstGeom prst="rect">
            <a:avLst/>
          </a:prstGeom>
        </p:spPr>
        <p:txBody>
          <a:bodyPr/>
          <a:lstStyle/>
          <a:p>
            <a:fld id="{9B749DBC-5EFD-468C-9F9F-C80FB4A03599}" type="slidenum">
              <a:rPr lang="en-GB" sz="800" smtClean="0">
                <a:solidFill>
                  <a:srgbClr val="000000">
                    <a:tint val="75000"/>
                  </a:srgbClr>
                </a:solidFill>
              </a:rPr>
              <a:pPr/>
              <a:t>8</a:t>
            </a:fld>
            <a:endParaRPr lang="ru-RU" sz="800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97979" y="2608263"/>
            <a:ext cx="1148042" cy="51907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1" lang="en-GB" sz="1200" b="1" dirty="0" smtClean="0">
                <a:solidFill>
                  <a:srgbClr val="FFFFFF"/>
                </a:solidFill>
              </a:rPr>
              <a:t>Улучшение и</a:t>
            </a:r>
            <a:r>
              <a:rPr sz="1600" dirty="0"/>
              <a:t/>
            </a:r>
            <a:br>
              <a:rPr sz="1600" dirty="0"/>
            </a:br>
            <a:r>
              <a:rPr kumimoji="1" lang="en-GB" sz="1200" b="1" dirty="0" smtClean="0">
                <a:solidFill>
                  <a:srgbClr val="FFFFFF"/>
                </a:solidFill>
              </a:rPr>
              <a:t>инновации</a:t>
            </a:r>
            <a:endParaRPr kumimoji="1" lang="ru-RU" sz="1200" b="1" dirty="0">
              <a:solidFill>
                <a:srgbClr val="FFFFFF"/>
              </a:solidFill>
            </a:endParaRPr>
          </a:p>
        </p:txBody>
      </p:sp>
      <p:grpSp>
        <p:nvGrpSpPr>
          <p:cNvPr id="2" name="Group 22"/>
          <p:cNvGrpSpPr/>
          <p:nvPr/>
        </p:nvGrpSpPr>
        <p:grpSpPr>
          <a:xfrm>
            <a:off x="1035349" y="3289454"/>
            <a:ext cx="7073302" cy="2867372"/>
            <a:chOff x="985653" y="3182578"/>
            <a:chExt cx="7073302" cy="2961047"/>
          </a:xfrm>
        </p:grpSpPr>
        <p:sp>
          <p:nvSpPr>
            <p:cNvPr id="42" name="Rectangle 41"/>
            <p:cNvSpPr/>
            <p:nvPr/>
          </p:nvSpPr>
          <p:spPr>
            <a:xfrm>
              <a:off x="985653" y="3182578"/>
              <a:ext cx="7073302" cy="296104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2018992" y="3356763"/>
              <a:ext cx="5006624" cy="2026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b="1" dirty="0" smtClean="0">
                  <a:solidFill>
                    <a:srgbClr val="FF0000"/>
                  </a:solidFill>
                </a:rPr>
                <a:t>УЛУЧШЕНИЕ И ИННОВАЦИИ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1005294" y="3693219"/>
              <a:ext cx="7034021" cy="1906988"/>
            </a:xfrm>
            <a:prstGeom prst="rect">
              <a:avLst/>
            </a:prstGeom>
            <a:noFill/>
          </p:spPr>
          <p:txBody>
            <a:bodyPr wrap="square" lIns="36000" rIns="90000">
              <a:spAutoFit/>
            </a:bodyPr>
            <a:lstStyle/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Предвосхищать будущие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 потребности наших клиентов</a:t>
              </a:r>
              <a:r>
                <a:rPr lang="ru-RU" sz="1400" dirty="0" smtClean="0">
                  <a:solidFill>
                    <a:srgbClr val="000000"/>
                  </a:solidFill>
                </a:rPr>
                <a:t>, чтобы опередить конкурентов</a:t>
              </a: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Никогда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не останавливаться на достигнутом</a:t>
              </a:r>
              <a:r>
                <a:rPr lang="ru-RU" sz="1400" dirty="0" smtClean="0">
                  <a:solidFill>
                    <a:srgbClr val="000000"/>
                  </a:solidFill>
                </a:rPr>
                <a:t> и всегда стремиться к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постоянному совершенствованию э</a:t>
              </a:r>
              <a:r>
                <a:rPr lang="ru-RU" sz="1400" dirty="0" smtClean="0">
                  <a:solidFill>
                    <a:srgbClr val="000000"/>
                  </a:solidFill>
                </a:rPr>
                <a:t>ффективности работы и результативности своих действий</a:t>
              </a: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Использовать нестандартные подходы и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инновационное мышление</a:t>
              </a:r>
              <a:r>
                <a:rPr lang="ru-RU" sz="1400" dirty="0" smtClean="0">
                  <a:solidFill>
                    <a:srgbClr val="000000"/>
                  </a:solidFill>
                </a:rPr>
                <a:t>, чтобы в кратчайшие сроки находить лучшие решения</a:t>
              </a:r>
            </a:p>
            <a:p>
              <a:pPr marL="177800" lvl="1" indent="-177800" fontAlgn="t">
                <a:spcBef>
                  <a:spcPts val="1200"/>
                </a:spcBef>
                <a:buClr>
                  <a:srgbClr val="F21C0A"/>
                </a:buClr>
                <a:buFont typeface="wingdings"/>
                <a:buChar char="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Набраться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смелости</a:t>
              </a:r>
              <a:r>
                <a:rPr lang="ru-RU" sz="1400" dirty="0" smtClean="0">
                  <a:solidFill>
                    <a:srgbClr val="000000"/>
                  </a:solidFill>
                </a:rPr>
                <a:t> реализовывать самые смелые идеи и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извлекать уроки</a:t>
              </a:r>
              <a:r>
                <a:rPr lang="ru-RU" sz="1400" dirty="0" smtClean="0">
                  <a:solidFill>
                    <a:srgbClr val="000000"/>
                  </a:solidFill>
                </a:rPr>
                <a:t> из ошибок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24325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292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7683690" y="5863097"/>
            <a:ext cx="1460310" cy="839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smtClean="0">
              <a:solidFill>
                <a:srgbClr val="000000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994318" y="4509120"/>
            <a:ext cx="3545763" cy="1626675"/>
            <a:chOff x="4994318" y="4509120"/>
            <a:chExt cx="3545763" cy="1626675"/>
          </a:xfrm>
        </p:grpSpPr>
        <p:sp>
          <p:nvSpPr>
            <p:cNvPr id="50" name="Rectangle 49"/>
            <p:cNvSpPr/>
            <p:nvPr/>
          </p:nvSpPr>
          <p:spPr>
            <a:xfrm>
              <a:off x="4994318" y="5616721"/>
              <a:ext cx="3543300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ru-RU" sz="1200" b="1" dirty="0" smtClean="0">
                  <a:solidFill>
                    <a:srgbClr val="FFFFFF"/>
                  </a:solidFill>
                </a:rPr>
                <a:t>Ответственность и непредвзятость</a:t>
              </a:r>
              <a:endParaRPr kumimoji="1"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389576" y="5040684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endParaRPr kumimoji="1"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6191946" y="5040684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/>
              <a:r>
                <a:rPr kumimoji="1" lang="en-GB" sz="1200" b="1" dirty="0" smtClean="0">
                  <a:solidFill>
                    <a:srgbClr val="FFFFFF"/>
                  </a:solidFill>
                </a:rPr>
                <a:t>Улучшение и</a:t>
              </a:r>
              <a:r>
                <a:rPr sz="1600"/>
                <a:t/>
              </a:r>
              <a:br>
                <a:rPr sz="1600"/>
              </a:br>
              <a:r>
                <a:rPr kumimoji="1" lang="en-GB" sz="1200" b="1" dirty="0" smtClean="0">
                  <a:solidFill>
                    <a:srgbClr val="FFFFFF"/>
                  </a:solidFill>
                </a:rPr>
                <a:t>инновации</a:t>
              </a:r>
              <a:endParaRPr kumimoji="1" lang="ru-RU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4994318" y="5040684"/>
              <a:ext cx="1148042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en-GB" sz="1200" b="1" dirty="0" smtClean="0">
                  <a:solidFill>
                    <a:srgbClr val="FFFFFF"/>
                  </a:solidFill>
                </a:rPr>
                <a:t>Совместная</a:t>
              </a:r>
            </a:p>
            <a:p>
              <a:pPr algn="ctr" eaLnBrk="0" hangingPunct="0"/>
              <a:r>
                <a:rPr kumimoji="1" lang="en-GB" sz="1200" b="1" dirty="0" smtClean="0">
                  <a:solidFill>
                    <a:srgbClr val="FFFFFF"/>
                  </a:solidFill>
                </a:rPr>
                <a:t>работа</a:t>
              </a:r>
              <a:endParaRPr kumimoji="1" lang="ru-RU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999856" y="4509120"/>
              <a:ext cx="3540225" cy="5190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 eaLnBrk="0" hangingPunct="0"/>
              <a:r>
                <a:rPr kumimoji="1" lang="ru-RU" sz="1200" b="1" dirty="0" err="1" smtClean="0">
                  <a:solidFill>
                    <a:srgbClr val="FFFFFF"/>
                  </a:solidFill>
                </a:rPr>
                <a:t>Клиентоориентированность</a:t>
              </a:r>
              <a:endParaRPr kumimoji="1" lang="ru-RU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20855" name="Rectangle 23"/>
          <p:cNvSpPr>
            <a:spLocks noGrp="1" noChangeArrowheads="1"/>
          </p:cNvSpPr>
          <p:nvPr>
            <p:ph type="title"/>
          </p:nvPr>
        </p:nvSpPr>
        <p:spPr>
          <a:xfrm>
            <a:off x="609600" y="666750"/>
            <a:ext cx="8249392" cy="609600"/>
          </a:xfrm>
          <a:noFill/>
        </p:spPr>
        <p:txBody>
          <a:bodyPr>
            <a:noAutofit/>
          </a:bodyPr>
          <a:lstStyle/>
          <a:p>
            <a:r>
              <a:rPr lang="ru-RU" altLang="de-DE" sz="25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ы </a:t>
            </a:r>
            <a:r>
              <a:rPr lang="ru-RU" sz="25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емимся сообща достигнуть успеха, повышая эффективность бизнеса наших клиентов и акционеров и способствуя взаимному развитию</a:t>
            </a:r>
            <a:br>
              <a:rPr lang="ru-RU" sz="25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ru-RU" sz="2500" dirty="0">
              <a:solidFill>
                <a:srgbClr val="FF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 Placeholder 32"/>
          <p:cNvSpPr>
            <a:spLocks noGrp="1"/>
          </p:cNvSpPr>
          <p:nvPr>
            <p:ph type="sldNum" sz="quarter" idx="4294967295"/>
          </p:nvPr>
        </p:nvSpPr>
        <p:spPr>
          <a:xfrm>
            <a:off x="609600" y="6403340"/>
            <a:ext cx="434008" cy="194012"/>
          </a:xfrm>
          <a:prstGeom prst="rect">
            <a:avLst/>
          </a:prstGeom>
        </p:spPr>
        <p:txBody>
          <a:bodyPr/>
          <a:lstStyle/>
          <a:p>
            <a:fld id="{9B749DBC-5EFD-468C-9F9F-C80FB4A03599}" type="slidenum">
              <a:rPr lang="en-GB" sz="700" smtClean="0">
                <a:solidFill>
                  <a:srgbClr val="000000">
                    <a:tint val="75000"/>
                  </a:srgbClr>
                </a:solidFill>
              </a:rPr>
              <a:pPr/>
              <a:t>9</a:t>
            </a:fld>
            <a:endParaRPr lang="ru-RU" sz="700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89576" y="5042117"/>
            <a:ext cx="1148042" cy="51907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1" lang="en-GB" sz="1200" b="1" dirty="0" smtClean="0">
                <a:solidFill>
                  <a:srgbClr val="FFFFFF"/>
                </a:solidFill>
              </a:rPr>
              <a:t>Совместные </a:t>
            </a:r>
            <a:r>
              <a:rPr sz="1600" dirty="0"/>
              <a:t/>
            </a:r>
            <a:br>
              <a:rPr sz="1600" dirty="0"/>
            </a:br>
            <a:r>
              <a:rPr kumimoji="1" lang="en-GB" sz="1200" b="1" dirty="0" smtClean="0">
                <a:solidFill>
                  <a:srgbClr val="FFFFFF"/>
                </a:solidFill>
              </a:rPr>
              <a:t>победы</a:t>
            </a:r>
            <a:endParaRPr kumimoji="1" lang="ru-RU" sz="1200" b="1" dirty="0">
              <a:solidFill>
                <a:srgbClr val="FFFFFF"/>
              </a:solidFill>
            </a:endParaRPr>
          </a:p>
        </p:txBody>
      </p:sp>
      <p:grpSp>
        <p:nvGrpSpPr>
          <p:cNvPr id="29" name="Group 13"/>
          <p:cNvGrpSpPr/>
          <p:nvPr/>
        </p:nvGrpSpPr>
        <p:grpSpPr>
          <a:xfrm>
            <a:off x="609600" y="2042578"/>
            <a:ext cx="6396842" cy="3293546"/>
            <a:chOff x="609600" y="2042578"/>
            <a:chExt cx="6396842" cy="3293546"/>
          </a:xfrm>
        </p:grpSpPr>
        <p:sp>
          <p:nvSpPr>
            <p:cNvPr id="30" name="Rectangle 29"/>
            <p:cNvSpPr/>
            <p:nvPr/>
          </p:nvSpPr>
          <p:spPr>
            <a:xfrm>
              <a:off x="609600" y="2042578"/>
              <a:ext cx="6396842" cy="329354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279491" y="2230201"/>
              <a:ext cx="5057061" cy="2089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400" b="1" dirty="0" smtClean="0">
                  <a:solidFill>
                    <a:srgbClr val="FF0000"/>
                  </a:solidFill>
                </a:rPr>
                <a:t>СОВМЕСТНЫЕ ПОБЕДЫ</a:t>
              </a:r>
              <a:endParaRPr lang="ru-RU" sz="1400" b="1" dirty="0">
                <a:solidFill>
                  <a:srgbClr val="FF0000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47615" y="2593544"/>
              <a:ext cx="6275702" cy="2062103"/>
            </a:xfrm>
            <a:prstGeom prst="rect">
              <a:avLst/>
            </a:prstGeom>
            <a:noFill/>
          </p:spPr>
          <p:txBody>
            <a:bodyPr wrap="square" lIns="36000" rIns="0">
              <a:spAutoFit/>
            </a:bodyPr>
            <a:lstStyle/>
            <a:p>
              <a:pPr marL="176213" indent="-176213" fontAlgn="t">
                <a:spcBef>
                  <a:spcPts val="1200"/>
                </a:spcBef>
                <a:buClr>
                  <a:srgbClr val="F21C0A"/>
                </a:buClr>
                <a:buFont typeface="Arial" pitchFamily="34" charset="0"/>
                <a:buChar char="•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Помогать нашим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клиентам достигнуть успеха</a:t>
              </a:r>
              <a:r>
                <a:rPr lang="ru-RU" sz="1400" dirty="0" smtClean="0">
                  <a:solidFill>
                    <a:srgbClr val="000000"/>
                  </a:solidFill>
                </a:rPr>
                <a:t>, не оставлять их проблемы без решения</a:t>
              </a:r>
            </a:p>
            <a:p>
              <a:pPr marL="176213" indent="-176213" fontAlgn="t">
                <a:spcBef>
                  <a:spcPts val="1200"/>
                </a:spcBef>
                <a:buClr>
                  <a:srgbClr val="F21C0A"/>
                </a:buClr>
                <a:buFont typeface="Arial" pitchFamily="34" charset="0"/>
                <a:buChar char="•"/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Взять на себя обязательство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работать с максимально возможной отдачей, </a:t>
              </a:r>
              <a:r>
                <a:rPr lang="ru-RU" sz="1400" dirty="0" smtClean="0">
                  <a:solidFill>
                    <a:srgbClr val="000000"/>
                  </a:solidFill>
                </a:rPr>
                <a:t>нести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ответственность за свои действия </a:t>
              </a:r>
              <a:r>
                <a:rPr lang="ru-RU" sz="1400" dirty="0" smtClean="0">
                  <a:solidFill>
                    <a:srgbClr val="000000"/>
                  </a:solidFill>
                </a:rPr>
                <a:t>и всегда </a:t>
              </a:r>
              <a:r>
                <a:rPr lang="ru-RU" sz="1400" b="1" dirty="0" smtClean="0">
                  <a:solidFill>
                    <a:srgbClr val="000000"/>
                  </a:solidFill>
                </a:rPr>
                <a:t>выполнять </a:t>
              </a:r>
              <a:r>
                <a:rPr lang="ru-RU" sz="1400" dirty="0" smtClean="0">
                  <a:solidFill>
                    <a:srgbClr val="000000"/>
                  </a:solidFill>
                  <a:uFill>
                    <a:solidFill>
                      <a:srgbClr val="F21C0A"/>
                    </a:solidFill>
                  </a:uFill>
                </a:rPr>
                <a:t>обещания</a:t>
              </a:r>
              <a:endParaRPr lang="ru-RU" sz="1400" b="1" dirty="0" smtClean="0">
                <a:solidFill>
                  <a:srgbClr val="000000"/>
                </a:solidFill>
              </a:endParaRPr>
            </a:p>
            <a:p>
              <a:pPr marL="176213" indent="-176213" fontAlgn="t">
                <a:spcBef>
                  <a:spcPts val="1200"/>
                </a:spcBef>
                <a:buClr>
                  <a:srgbClr val="F21C0A"/>
                </a:buClr>
                <a:buFont typeface="Arial" pitchFamily="34" charset="0"/>
                <a:buChar char="•"/>
                <a:defRPr/>
              </a:pPr>
              <a:r>
                <a:rPr lang="ru-RU" sz="1400" dirty="0" smtClean="0">
                  <a:uFill>
                    <a:solidFill>
                      <a:srgbClr val="F21C0A"/>
                    </a:solidFill>
                  </a:uFill>
                </a:rPr>
                <a:t>Приложить все усилия и установить эталонные критерии качества, стремиться</a:t>
              </a:r>
              <a:r>
                <a:rPr lang="ru-RU" sz="1400" b="1" dirty="0" smtClean="0">
                  <a:uFill>
                    <a:solidFill>
                      <a:srgbClr val="F21C0A"/>
                    </a:solidFill>
                  </a:uFill>
                </a:rPr>
                <a:t> к победам на </a:t>
              </a:r>
              <a:r>
                <a:rPr lang="ru-RU" sz="1400" b="1" dirty="0" smtClean="0"/>
                <a:t>благо Компании</a:t>
              </a:r>
              <a:endParaRPr lang="ru-RU" sz="1400" dirty="0" smtClean="0">
                <a:uFill>
                  <a:solidFill>
                    <a:srgbClr val="F21C0A"/>
                  </a:solidFill>
                </a:uFill>
                <a:ea typeface="Calibri"/>
                <a:cs typeface="Times New Roman"/>
              </a:endParaRPr>
            </a:p>
            <a:p>
              <a:pPr marL="176213" indent="-176213" fontAlgn="t">
                <a:spcBef>
                  <a:spcPts val="1200"/>
                </a:spcBef>
                <a:buClr>
                  <a:srgbClr val="F21C0A"/>
                </a:buClr>
                <a:buFont typeface="Arial" pitchFamily="34" charset="0"/>
                <a:buChar char="•"/>
                <a:defRPr/>
              </a:pPr>
              <a:r>
                <a:rPr lang="ru-RU" sz="1400" b="1" dirty="0" smtClean="0">
                  <a:uFill>
                    <a:solidFill>
                      <a:srgbClr val="F21C0A"/>
                    </a:solidFill>
                  </a:uFill>
                </a:rPr>
                <a:t>Радоваться </a:t>
              </a:r>
              <a:r>
                <a:rPr lang="ru-RU" sz="1400" b="1" dirty="0" smtClean="0"/>
                <a:t>общим успехам</a:t>
              </a:r>
              <a:r>
                <a:rPr lang="ru-RU" sz="1400" dirty="0" smtClean="0"/>
                <a:t> и достижениям каждого члена команды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5136352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23</TotalTime>
  <Words>1292</Words>
  <Application>Microsoft Office PowerPoint</Application>
  <PresentationFormat>Экран (4:3)</PresentationFormat>
  <Paragraphs>246</Paragraphs>
  <Slides>22</Slides>
  <Notes>2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4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тветственное поведение и непредвзятость — основные принципы работы E.ON</vt:lpstr>
      <vt:lpstr>Мы дорожим прочными отношениями   с клиентами, коллегами и обществом   </vt:lpstr>
      <vt:lpstr>Мы постоянно стремимся сделать наше предложение более интересным и выгодным для клиентов</vt:lpstr>
      <vt:lpstr>Мы стремимся сообща достигнуть успеха, повышая эффективность бизнеса наших клиентов и акционеров и способствуя взаимному развитию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.ON Russ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иторина Виктория Геннадьевна</dc:creator>
  <cp:lastModifiedBy>Литорина Виктория Геннадьевна</cp:lastModifiedBy>
  <cp:revision>58</cp:revision>
  <cp:lastPrinted>2014-04-14T11:45:54Z</cp:lastPrinted>
  <dcterms:created xsi:type="dcterms:W3CDTF">2014-03-17T06:18:17Z</dcterms:created>
  <dcterms:modified xsi:type="dcterms:W3CDTF">2014-08-08T07:09:46Z</dcterms:modified>
</cp:coreProperties>
</file>